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4" autoAdjust="0"/>
    <p:restoredTop sz="94660"/>
  </p:normalViewPr>
  <p:slideViewPr>
    <p:cSldViewPr snapToGrid="0">
      <p:cViewPr>
        <p:scale>
          <a:sx n="75" d="100"/>
          <a:sy n="75" d="100"/>
        </p:scale>
        <p:origin x="234" y="7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4837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7738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2848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1225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342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0681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9504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0881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31520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4604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5036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2097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15" imgW="470" imgH="469" progId="TCLayout.ActiveDocument.1">
                  <p:embed/>
                </p:oleObj>
              </mc:Choice>
              <mc:Fallback>
                <p:oleObj name="think-cell Folie" r:id="rId1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06CB60-8DE7-4B7D-B9EB-E35380A7A1EA}" type="datetimeFigureOut">
              <a:rPr lang="de-DE" smtClean="0"/>
              <a:t>10.03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4423B-8DCA-46D3-B3F0-ECE329B508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114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512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4" imgW="470" imgH="469" progId="TCLayout.ActiveDocument.1">
                  <p:embed/>
                </p:oleObj>
              </mc:Choice>
              <mc:Fallback>
                <p:oleObj name="think-cell Foli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http://ecx.images-amazon.com/images/I/81LcrgMpIcL._SL1500_.jpg"/>
          <p:cNvPicPr>
            <a:picLocks noChangeAspect="1" noChangeArrowheads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76"/>
          <a:stretch/>
        </p:blipFill>
        <p:spPr bwMode="auto">
          <a:xfrm>
            <a:off x="666563" y="609381"/>
            <a:ext cx="2520389" cy="1708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9588" b="11832"/>
          <a:stretch/>
        </p:blipFill>
        <p:spPr>
          <a:xfrm>
            <a:off x="7189617" y="601386"/>
            <a:ext cx="2378670" cy="1869144"/>
          </a:xfrm>
          <a:prstGeom prst="rect">
            <a:avLst/>
          </a:prstGeom>
        </p:spPr>
      </p:pic>
      <p:sp>
        <p:nvSpPr>
          <p:cNvPr id="13" name="Bogen 12"/>
          <p:cNvSpPr/>
          <p:nvPr/>
        </p:nvSpPr>
        <p:spPr>
          <a:xfrm rot="16200000">
            <a:off x="4054330" y="-954500"/>
            <a:ext cx="1914144" cy="5608320"/>
          </a:xfrm>
          <a:prstGeom prst="arc">
            <a:avLst>
              <a:gd name="adj1" fmla="val 17126869"/>
              <a:gd name="adj2" fmla="val 4671599"/>
            </a:avLst>
          </a:prstGeom>
          <a:ln w="57150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3146922" y="3096860"/>
            <a:ext cx="3648901" cy="2008563"/>
            <a:chOff x="6072737" y="2944437"/>
            <a:chExt cx="5229225" cy="3057526"/>
          </a:xfrm>
        </p:grpSpPr>
        <p:pic>
          <p:nvPicPr>
            <p:cNvPr id="1030" name="Picture 6" descr="https://medion.scene7.com/is/image/Medion/30019378_PIC-H_Dfront?$xxl$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2737" y="2944437"/>
              <a:ext cx="5229225" cy="30575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https://gigaom.com/wp-content/uploads/sites/1/2013/07/hacker-cyber-attack-640x522.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600" y="3187318"/>
              <a:ext cx="3175000" cy="1791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Bogen 18"/>
          <p:cNvSpPr/>
          <p:nvPr/>
        </p:nvSpPr>
        <p:spPr>
          <a:xfrm rot="7449018">
            <a:off x="2175793" y="1260466"/>
            <a:ext cx="1914144" cy="4193163"/>
          </a:xfrm>
          <a:prstGeom prst="arc">
            <a:avLst>
              <a:gd name="adj1" fmla="val 18666421"/>
              <a:gd name="adj2" fmla="val 5044699"/>
            </a:avLst>
          </a:prstGeom>
          <a:ln w="57150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Bogen 19"/>
          <p:cNvSpPr/>
          <p:nvPr/>
        </p:nvSpPr>
        <p:spPr>
          <a:xfrm rot="2448482">
            <a:off x="6223318" y="702780"/>
            <a:ext cx="1914144" cy="4543367"/>
          </a:xfrm>
          <a:prstGeom prst="arc">
            <a:avLst>
              <a:gd name="adj1" fmla="val 18057456"/>
              <a:gd name="adj2" fmla="val 4229015"/>
            </a:avLst>
          </a:prstGeom>
          <a:ln w="57150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Gewitterblitz 15"/>
          <p:cNvSpPr/>
          <p:nvPr/>
        </p:nvSpPr>
        <p:spPr>
          <a:xfrm>
            <a:off x="4635500" y="457035"/>
            <a:ext cx="546100" cy="931021"/>
          </a:xfrm>
          <a:prstGeom prst="lightningBol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/>
          <p:cNvSpPr txBox="1"/>
          <p:nvPr/>
        </p:nvSpPr>
        <p:spPr>
          <a:xfrm>
            <a:off x="3390900" y="5012708"/>
            <a:ext cx="30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Angreifer = Man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iddle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183402" y="233127"/>
            <a:ext cx="30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ommunikationspartner A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>
            <a:off x="7625602" y="233127"/>
            <a:ext cx="303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ommunikationspartner B</a:t>
            </a:r>
            <a:endParaRPr lang="de-DE" dirty="0"/>
          </a:p>
        </p:txBody>
      </p:sp>
      <p:sp>
        <p:nvSpPr>
          <p:cNvPr id="18" name="Rechteck 17"/>
          <p:cNvSpPr/>
          <p:nvPr/>
        </p:nvSpPr>
        <p:spPr>
          <a:xfrm>
            <a:off x="4025899" y="1078331"/>
            <a:ext cx="29199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normale       Kommunikation</a:t>
            </a:r>
            <a:endParaRPr lang="de-DE" dirty="0"/>
          </a:p>
        </p:txBody>
      </p:sp>
      <p:sp>
        <p:nvSpPr>
          <p:cNvPr id="26" name="Rechteck 25"/>
          <p:cNvSpPr/>
          <p:nvPr/>
        </p:nvSpPr>
        <p:spPr>
          <a:xfrm rot="2445479">
            <a:off x="1235291" y="3303436"/>
            <a:ext cx="25505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gehackte Kommunikation </a:t>
            </a:r>
            <a:endParaRPr lang="de-DE" dirty="0"/>
          </a:p>
        </p:txBody>
      </p:sp>
      <p:sp>
        <p:nvSpPr>
          <p:cNvPr id="27" name="Rechteck 26"/>
          <p:cNvSpPr/>
          <p:nvPr/>
        </p:nvSpPr>
        <p:spPr>
          <a:xfrm rot="18774049">
            <a:off x="6193874" y="3277851"/>
            <a:ext cx="25505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gehackte Kommunikation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0553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</Words>
  <Application>Microsoft Office PowerPoint</Application>
  <PresentationFormat>Breitbild</PresentationFormat>
  <Paragraphs>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Folie</vt:lpstr>
      <vt:lpstr>PowerPoint-Präsentation</vt:lpstr>
    </vt:vector>
  </TitlesOfParts>
  <Company>Telefónica Germany GmbH &amp; Co. OH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hlmann Fabian</dc:creator>
  <cp:lastModifiedBy>Uhlmann Fabian</cp:lastModifiedBy>
  <cp:revision>5</cp:revision>
  <dcterms:created xsi:type="dcterms:W3CDTF">2016-03-10T12:47:22Z</dcterms:created>
  <dcterms:modified xsi:type="dcterms:W3CDTF">2016-03-10T13:25:27Z</dcterms:modified>
</cp:coreProperties>
</file>